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011FA410-8B60-4CE6-AFD2-8B16BB03B61B}">
          <p14:sldIdLst>
            <p14:sldId id="2147475173"/>
            <p14:sldId id="2147475174"/>
            <p14:sldId id="2147475175"/>
            <p14:sldId id="2147475176"/>
            <p14:sldId id="2147475177"/>
            <p14:sldId id="2147475178"/>
            <p14:sldId id="2147475179"/>
            <p14:sldId id="2147475180"/>
            <p14:sldId id="2147475181"/>
          </p14:sldIdLst>
        </p14:section>
        <p14:section name="Brackets By Segment" id="{7E53E2AA-3A1A-4139-B53D-FC4BC14CC56A}">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4675713255636784</c:v>
                </c:pt>
                <c:pt idx="2">
                  <c:v>0.0073222119817831595</c:v>
                </c:pt>
                <c:pt idx="3">
                  <c:v>0.010838666925899285</c:v>
                </c:pt>
                <c:pt idx="4">
                  <c:v>0.007854968758677645</c:v>
                </c:pt>
                <c:pt idx="5">
                  <c:v>0.014626503348729992</c:v>
                </c:pt>
                <c:pt idx="7">
                  <c:v>0.023729879837111553</c:v>
                </c:pt>
                <c:pt idx="8">
                  <c:v>0.005907428174176061</c:v>
                </c:pt>
                <c:pt idx="9">
                  <c:v>0.0011797318710988986</c:v>
                </c:pt>
                <c:pt idx="10">
                  <c:v>0.0148706888753331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4549154025681851</c:v>
                </c:pt>
                <c:pt idx="6">
                  <c:v>0.0023582829491734956</c:v>
                </c:pt>
                <c:pt idx="7">
                  <c:v>0.007852059040184392</c:v>
                </c:pt>
                <c:pt idx="9">
                  <c:v>0.003469330508853878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039585917083433</c:v>
                </c:pt>
                <c:pt idx="4">
                  <c:v>0.0047919910034235095</c:v>
                </c:pt>
                <c:pt idx="5">
                  <c:v>0.008621071954402612</c:v>
                </c:pt>
                <c:pt idx="6">
                  <c:v>0.026787534270509988</c:v>
                </c:pt>
                <c:pt idx="7">
                  <c:v>0.010469601483297113</c:v>
                </c:pt>
                <c:pt idx="8">
                  <c:v>0.05232341037941712</c:v>
                </c:pt>
                <c:pt idx="9">
                  <c:v>0.0006243995799953024</c:v>
                </c:pt>
                <c:pt idx="10">
                  <c:v>0.00597765219808441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0543862473400580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823963536409176</c:v>
                </c:pt>
                <c:pt idx="1">
                  <c:v>0.002073949159311291</c:v>
                </c:pt>
                <c:pt idx="2">
                  <c:v>0.0006108243615143752</c:v>
                </c:pt>
                <c:pt idx="3">
                  <c:v>0.01637251845592989</c:v>
                </c:pt>
                <c:pt idx="4">
                  <c:v>0.011704642063775483</c:v>
                </c:pt>
                <c:pt idx="5">
                  <c:v>0.024932755511573326</c:v>
                </c:pt>
                <c:pt idx="6">
                  <c:v>0.012203051158121115</c:v>
                </c:pt>
                <c:pt idx="7">
                  <c:v>0.05362325998143248</c:v>
                </c:pt>
                <c:pt idx="8">
                  <c:v>0.05856962991953705</c:v>
                </c:pt>
                <c:pt idx="9">
                  <c:v>0.06047309168250206</c:v>
                </c:pt>
                <c:pt idx="10">
                  <c:v>0.051393438990532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2378820717623514</c:v>
                </c:pt>
                <c:pt idx="1">
                  <c:v>0.008704650123208047</c:v>
                </c:pt>
                <c:pt idx="2">
                  <c:v>0.00407201546118422</c:v>
                </c:pt>
                <c:pt idx="3">
                  <c:v>0.014268643085746643</c:v>
                </c:pt>
                <c:pt idx="4">
                  <c:v>0.026641009300003234</c:v>
                </c:pt>
                <c:pt idx="5">
                  <c:v>0.02725680326563916</c:v>
                </c:pt>
                <c:pt idx="6">
                  <c:v>0.06683635993202157</c:v>
                </c:pt>
                <c:pt idx="7">
                  <c:v>0.01299210634336415</c:v>
                </c:pt>
                <c:pt idx="8">
                  <c:v>0.026924993273429825</c:v>
                </c:pt>
                <c:pt idx="9">
                  <c:v>0.001584878473233839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427846444226306</c:v>
                </c:pt>
                <c:pt idx="4">
                  <c:v>0.002960075804571381</c:v>
                </c:pt>
                <c:pt idx="5">
                  <c:v>0.013282489096610206</c:v>
                </c:pt>
                <c:pt idx="6">
                  <c:v>0.010587702242869208</c:v>
                </c:pt>
                <c:pt idx="7">
                  <c:v>0.04749481674288953</c:v>
                </c:pt>
                <c:pt idx="8">
                  <c:v>0.02896227997972612</c:v>
                </c:pt>
                <c:pt idx="9">
                  <c:v>0.011557819944363387</c:v>
                </c:pt>
                <c:pt idx="10">
                  <c:v>0.0089968352763788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8923544181602873</c:v>
                </c:pt>
                <c:pt idx="7">
                  <c:v>0.007868116784968614</c:v>
                </c:pt>
                <c:pt idx="8">
                  <c:v>0.01567913156366292</c:v>
                </c:pt>
                <c:pt idx="9">
                  <c:v>0.00161265831969322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879874512001602</c:v>
                </c:pt>
                <c:pt idx="6">
                  <c:v>0.0072385518857084165</c:v>
                </c:pt>
                <c:pt idx="8">
                  <c:v>0.0084207246692595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5619622998525503</c:v>
                </c:pt>
                <c:pt idx="2">
                  <c:v>0.009611683486752821</c:v>
                </c:pt>
                <c:pt idx="3">
                  <c:v>0.007322802398564826</c:v>
                </c:pt>
                <c:pt idx="4">
                  <c:v>0.017094221149595825</c:v>
                </c:pt>
                <c:pt idx="5">
                  <c:v>0.011234128806656703</c:v>
                </c:pt>
                <c:pt idx="6">
                  <c:v>0.0009310584229327063</c:v>
                </c:pt>
                <c:pt idx="7">
                  <c:v>0.004423487250213444</c:v>
                </c:pt>
                <c:pt idx="8">
                  <c:v>0.023505936322609233</c:v>
                </c:pt>
                <c:pt idx="9">
                  <c:v>0.002639496561801381</c:v>
                </c:pt>
                <c:pt idx="10">
                  <c:v>0.02125671453231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8123258798760101</c:v>
                </c:pt>
                <c:pt idx="6">
                  <c:v>0.0019586700359540744</c:v>
                </c:pt>
                <c:pt idx="7">
                  <c:v>0.008272223513935096</c:v>
                </c:pt>
                <c:pt idx="10">
                  <c:v>0.005343702205152186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00544542834714</c:v>
                </c:pt>
                <c:pt idx="4">
                  <c:v>0.0061777956607306376</c:v>
                </c:pt>
                <c:pt idx="5">
                  <c:v>0.007005360730910823</c:v>
                </c:pt>
                <c:pt idx="6">
                  <c:v>0.024315095806886688</c:v>
                </c:pt>
                <c:pt idx="7">
                  <c:v>0.06670765108667634</c:v>
                </c:pt>
                <c:pt idx="8">
                  <c:v>0.00977260261066958</c:v>
                </c:pt>
                <c:pt idx="10">
                  <c:v>0.007234000057631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06087397682893296</c:v>
                </c:pt>
                <c:pt idx="10">
                  <c:v>0.000707514839873590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555444775079665</c:v>
                </c:pt>
                <c:pt idx="2">
                  <c:v>0.0005610722604503559</c:v>
                </c:pt>
                <c:pt idx="3">
                  <c:v>0.018818855860911178</c:v>
                </c:pt>
                <c:pt idx="4">
                  <c:v>0.010815836023704404</c:v>
                </c:pt>
                <c:pt idx="5">
                  <c:v>0.011583847806848119</c:v>
                </c:pt>
                <c:pt idx="6">
                  <c:v>0.0328599587641099</c:v>
                </c:pt>
                <c:pt idx="7">
                  <c:v>0.09123367979786334</c:v>
                </c:pt>
                <c:pt idx="8">
                  <c:v>0.05665312259751021</c:v>
                </c:pt>
                <c:pt idx="9">
                  <c:v>0.05429873031997418</c:v>
                </c:pt>
                <c:pt idx="10">
                  <c:v>0.0645246310705180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1698957053115312</c:v>
                </c:pt>
                <c:pt idx="1">
                  <c:v>0.0068807037424454</c:v>
                </c:pt>
                <c:pt idx="2">
                  <c:v>0.00273216789329252</c:v>
                </c:pt>
                <c:pt idx="3">
                  <c:v>0.02666249216025414</c:v>
                </c:pt>
                <c:pt idx="4">
                  <c:v>0.01340282240544957</c:v>
                </c:pt>
                <c:pt idx="5">
                  <c:v>0.0759135838396914</c:v>
                </c:pt>
                <c:pt idx="6">
                  <c:v>0.02955530894863287</c:v>
                </c:pt>
                <c:pt idx="7">
                  <c:v>0.0336833417214364</c:v>
                </c:pt>
                <c:pt idx="8">
                  <c:v>0.01503959843206541</c:v>
                </c:pt>
                <c:pt idx="10">
                  <c:v>0.00245591253089090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5769667513792587</c:v>
                </c:pt>
                <c:pt idx="6">
                  <c:v>0.05697704975709731</c:v>
                </c:pt>
                <c:pt idx="7">
                  <c:v>0.24833150640056717</c:v>
                </c:pt>
                <c:pt idx="8">
                  <c:v>0.15601012982367793</c:v>
                </c:pt>
                <c:pt idx="9">
                  <c:v>0.10020368133507936</c:v>
                </c:pt>
                <c:pt idx="10">
                  <c:v>0.082672933390489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082113207984845</c:v>
                </c:pt>
                <c:pt idx="4">
                  <c:v>0.006953468216752998</c:v>
                </c:pt>
                <c:pt idx="5">
                  <c:v>0.00790147384777279</c:v>
                </c:pt>
                <c:pt idx="6">
                  <c:v>0.012497409985339615</c:v>
                </c:pt>
                <c:pt idx="7">
                  <c:v>0.05111817987791542</c:v>
                </c:pt>
                <c:pt idx="8">
                  <c:v>0.02904787925571911</c:v>
                </c:pt>
                <c:pt idx="9">
                  <c:v>0.01236547397583552</c:v>
                </c:pt>
                <c:pt idx="10">
                  <c:v>0.0150304149411733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8764979352415567</c:v>
                </c:pt>
                <c:pt idx="7">
                  <c:v>0.016663274794419557</c:v>
                </c:pt>
                <c:pt idx="8">
                  <c:v>0.006492882477147027</c:v>
                </c:pt>
                <c:pt idx="10">
                  <c:v>0.00259284991843335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8123258798760101</c:v>
                </c:pt>
                <c:pt idx="6">
                  <c:v>0.0019586700359540744</c:v>
                </c:pt>
                <c:pt idx="7">
                  <c:v>0.008880963282224425</c:v>
                </c:pt>
                <c:pt idx="10">
                  <c:v>0.0060512170450257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4601392266782487</c:v>
                </c:pt>
                <c:pt idx="3">
                  <c:v>0.009584722439666266</c:v>
                </c:pt>
                <c:pt idx="5">
                  <c:v>0.011537446256914692</c:v>
                </c:pt>
                <c:pt idx="7">
                  <c:v>0.01737671701244667</c:v>
                </c:pt>
                <c:pt idx="8">
                  <c:v>0.0006192864506326367</c:v>
                </c:pt>
                <c:pt idx="10">
                  <c:v>0.009838756173812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31935728484265434</c:v>
                </c:pt>
                <c:pt idx="6">
                  <c:v>0.002182571604367232</c:v>
                </c:pt>
                <c:pt idx="7">
                  <c:v>0.004898429976013696</c:v>
                </c:pt>
                <c:pt idx="10">
                  <c:v>0.00232657402202502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441572826712374</c:v>
                </c:pt>
                <c:pt idx="4">
                  <c:v>0.005148853867320392</c:v>
                </c:pt>
                <c:pt idx="5">
                  <c:v>0.02107546945489458</c:v>
                </c:pt>
                <c:pt idx="7">
                  <c:v>0.03959716248165783</c:v>
                </c:pt>
                <c:pt idx="9">
                  <c:v>0.003545042027595264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12733770218926084</c:v>
                </c:pt>
                <c:pt idx="6">
                  <c:v>0.020130892074696136</c:v>
                </c:pt>
                <c:pt idx="7">
                  <c:v>0.05770091562010273</c:v>
                </c:pt>
                <c:pt idx="8">
                  <c:v>0.0021007769745816224</c:v>
                </c:pt>
                <c:pt idx="9">
                  <c:v>0.060717997465311646</c:v>
                </c:pt>
                <c:pt idx="10">
                  <c:v>0.00096959552000316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8245597567007162</c:v>
                </c:pt>
                <c:pt idx="6">
                  <c:v>0.002976536253689728</c:v>
                </c:pt>
                <c:pt idx="7">
                  <c:v>0.0007242218445557465</c:v>
                </c:pt>
                <c:pt idx="9">
                  <c:v>0.01933507442483745</c:v>
                </c:pt>
                <c:pt idx="10">
                  <c:v>0.0023922114457728847</c:v>
                </c:pt>
                <c:pt idx="11">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3438112007002766</c:v>
                </c:pt>
                <c:pt idx="1">
                  <c:v>0.00771663703679189</c:v>
                </c:pt>
                <c:pt idx="4">
                  <c:v>0.025887282491985287</c:v>
                </c:pt>
                <c:pt idx="5">
                  <c:v>0.0011021428867557719</c:v>
                </c:pt>
                <c:pt idx="6">
                  <c:v>0.05307433161038658</c:v>
                </c:pt>
                <c:pt idx="8">
                  <c:v>0.021562012890803894</c:v>
                </c:pt>
                <c:pt idx="10">
                  <c:v>0.001580959605624394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060169204907452</c:v>
                </c:pt>
                <c:pt idx="5">
                  <c:v>0.014315024674309163</c:v>
                </c:pt>
                <c:pt idx="7">
                  <c:v>0.0008005887405667538</c:v>
                </c:pt>
                <c:pt idx="8">
                  <c:v>0.03847492296602269</c:v>
                </c:pt>
                <c:pt idx="10">
                  <c:v>0.007282273741354237</c:v>
                </c:pt>
                <c:pt idx="11">
                  <c:v>0.00201507489659212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99108067079753</c:v>
                </c:pt>
                <c:pt idx="8">
                  <c:v>0.012828444547516327</c:v>
                </c:pt>
                <c:pt idx="9">
                  <c:v>0.0012632328123912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7966005531298805</c:v>
                </c:pt>
                <c:pt idx="4">
                  <c:v>0.001020477770415566</c:v>
                </c:pt>
                <c:pt idx="5">
                  <c:v>0.030675143808491942</c:v>
                </c:pt>
                <c:pt idx="7">
                  <c:v>0.03567287201865732</c:v>
                </c:pt>
                <c:pt idx="10">
                  <c:v>0.0012866196339048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4675713255636784</c:v>
                </c:pt>
                <c:pt idx="2">
                  <c:v>0.0073222119817831595</c:v>
                </c:pt>
                <c:pt idx="3">
                  <c:v>0.010838666925899285</c:v>
                </c:pt>
                <c:pt idx="4">
                  <c:v>0.007854968758677645</c:v>
                </c:pt>
                <c:pt idx="5">
                  <c:v>0.014626503348729992</c:v>
                </c:pt>
                <c:pt idx="7">
                  <c:v>0.023729879837111553</c:v>
                </c:pt>
                <c:pt idx="8">
                  <c:v>0.005907428174176061</c:v>
                </c:pt>
                <c:pt idx="9">
                  <c:v>0.0011797318710988986</c:v>
                </c:pt>
                <c:pt idx="10">
                  <c:v>0.0148706888753331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73222119817831595</c:v>
                </c:pt>
                <c:pt idx="3">
                  <c:v>0.005167922731453338</c:v>
                </c:pt>
                <c:pt idx="5">
                  <c:v>0.003808420974352366</c:v>
                </c:pt>
                <c:pt idx="8">
                  <c:v>0.005849954894324177</c:v>
                </c:pt>
                <c:pt idx="9">
                  <c:v>0.0011084746532942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039585917083433</c:v>
                </c:pt>
                <c:pt idx="4">
                  <c:v>0.0047919910034235095</c:v>
                </c:pt>
                <c:pt idx="5">
                  <c:v>0.008621071954402612</c:v>
                </c:pt>
                <c:pt idx="6">
                  <c:v>0.026787534270509988</c:v>
                </c:pt>
                <c:pt idx="7">
                  <c:v>0.010469601483297113</c:v>
                </c:pt>
                <c:pt idx="8">
                  <c:v>0.05232341037941712</c:v>
                </c:pt>
                <c:pt idx="9">
                  <c:v>0.0006243995799953024</c:v>
                </c:pt>
                <c:pt idx="10">
                  <c:v>0.00597765219808441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823963536409176</c:v>
                </c:pt>
                <c:pt idx="1">
                  <c:v>0.002073949159311291</c:v>
                </c:pt>
                <c:pt idx="2">
                  <c:v>0.0006108243615143752</c:v>
                </c:pt>
                <c:pt idx="3">
                  <c:v>0.01637251845592989</c:v>
                </c:pt>
                <c:pt idx="4">
                  <c:v>0.011704642063775483</c:v>
                </c:pt>
                <c:pt idx="5">
                  <c:v>0.024932755511573326</c:v>
                </c:pt>
                <c:pt idx="6">
                  <c:v>0.012203051158121115</c:v>
                </c:pt>
                <c:pt idx="7">
                  <c:v>0.05362325998143248</c:v>
                </c:pt>
                <c:pt idx="8">
                  <c:v>0.05856962991953705</c:v>
                </c:pt>
                <c:pt idx="9">
                  <c:v>0.06047309168250206</c:v>
                </c:pt>
                <c:pt idx="10">
                  <c:v>0.051393438990532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2378820717623514</c:v>
                </c:pt>
                <c:pt idx="1">
                  <c:v>0.008704650123208047</c:v>
                </c:pt>
                <c:pt idx="2">
                  <c:v>0.00407201546118422</c:v>
                </c:pt>
                <c:pt idx="3">
                  <c:v>0.014268643085746643</c:v>
                </c:pt>
                <c:pt idx="4">
                  <c:v>0.026641009300003234</c:v>
                </c:pt>
                <c:pt idx="5">
                  <c:v>0.02725680326563916</c:v>
                </c:pt>
                <c:pt idx="6">
                  <c:v>0.06683635993202157</c:v>
                </c:pt>
                <c:pt idx="7">
                  <c:v>0.01299210634336415</c:v>
                </c:pt>
                <c:pt idx="8">
                  <c:v>0.026924993273429825</c:v>
                </c:pt>
                <c:pt idx="9">
                  <c:v>0.001584878473233839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427846444226306</c:v>
                </c:pt>
                <c:pt idx="4">
                  <c:v>0.002960075804571381</c:v>
                </c:pt>
                <c:pt idx="5">
                  <c:v>0.013282489096610206</c:v>
                </c:pt>
                <c:pt idx="6">
                  <c:v>0.010587702242869208</c:v>
                </c:pt>
                <c:pt idx="7">
                  <c:v>0.04749481674288953</c:v>
                </c:pt>
                <c:pt idx="8">
                  <c:v>0.02896227997972612</c:v>
                </c:pt>
                <c:pt idx="9">
                  <c:v>0.011557819944363387</c:v>
                </c:pt>
                <c:pt idx="10">
                  <c:v>0.0089968352763788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8923544181602873</c:v>
                </c:pt>
                <c:pt idx="7">
                  <c:v>0.007868116784968614</c:v>
                </c:pt>
                <c:pt idx="8">
                  <c:v>0.01567913156366292</c:v>
                </c:pt>
                <c:pt idx="9">
                  <c:v>0.00161265831969322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879874512001602</c:v>
                </c:pt>
                <c:pt idx="6">
                  <c:v>0.0072385518857084165</c:v>
                </c:pt>
                <c:pt idx="8">
                  <c:v>0.0084207246692595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5619622998525503</c:v>
                </c:pt>
                <c:pt idx="2">
                  <c:v>0.009611683486752821</c:v>
                </c:pt>
                <c:pt idx="3">
                  <c:v>0.007322802398564826</c:v>
                </c:pt>
                <c:pt idx="4">
                  <c:v>0.017094221149595825</c:v>
                </c:pt>
                <c:pt idx="5">
                  <c:v>0.011234128806656703</c:v>
                </c:pt>
                <c:pt idx="6">
                  <c:v>0.0009310584229327063</c:v>
                </c:pt>
                <c:pt idx="7">
                  <c:v>0.004423487250213444</c:v>
                </c:pt>
                <c:pt idx="8">
                  <c:v>0.023505936322609233</c:v>
                </c:pt>
                <c:pt idx="9">
                  <c:v>0.002639496561801381</c:v>
                </c:pt>
                <c:pt idx="10">
                  <c:v>0.02125671453231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9611683486752821</c:v>
                </c:pt>
                <c:pt idx="3">
                  <c:v>0.008070268211894027</c:v>
                </c:pt>
                <c:pt idx="5">
                  <c:v>0.0008946847644719398</c:v>
                </c:pt>
                <c:pt idx="8">
                  <c:v>0.008742820588310812</c:v>
                </c:pt>
                <c:pt idx="9">
                  <c:v>0.00156398152688262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00544542834714</c:v>
                </c:pt>
                <c:pt idx="4">
                  <c:v>0.0061777956607306376</c:v>
                </c:pt>
                <c:pt idx="5">
                  <c:v>0.007005360730910823</c:v>
                </c:pt>
                <c:pt idx="6">
                  <c:v>0.024315095806886688</c:v>
                </c:pt>
                <c:pt idx="7">
                  <c:v>0.06670765108667634</c:v>
                </c:pt>
                <c:pt idx="8">
                  <c:v>0.00977260261066958</c:v>
                </c:pt>
                <c:pt idx="10">
                  <c:v>0.007234000057631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555444775079665</c:v>
                </c:pt>
                <c:pt idx="2">
                  <c:v>0.0005610722604503559</c:v>
                </c:pt>
                <c:pt idx="3">
                  <c:v>0.018818855860911178</c:v>
                </c:pt>
                <c:pt idx="4">
                  <c:v>0.010815836023704404</c:v>
                </c:pt>
                <c:pt idx="5">
                  <c:v>0.011583847806848119</c:v>
                </c:pt>
                <c:pt idx="6">
                  <c:v>0.0328599587641099</c:v>
                </c:pt>
                <c:pt idx="7">
                  <c:v>0.09123367979786334</c:v>
                </c:pt>
                <c:pt idx="8">
                  <c:v>0.05665312259751021</c:v>
                </c:pt>
                <c:pt idx="9">
                  <c:v>0.05429873031997418</c:v>
                </c:pt>
                <c:pt idx="10">
                  <c:v>0.0645246310705180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1698957053115312</c:v>
                </c:pt>
                <c:pt idx="1">
                  <c:v>0.0068807037424454</c:v>
                </c:pt>
                <c:pt idx="2">
                  <c:v>0.00273216789329252</c:v>
                </c:pt>
                <c:pt idx="3">
                  <c:v>0.02666249216025414</c:v>
                </c:pt>
                <c:pt idx="4">
                  <c:v>0.01340282240544957</c:v>
                </c:pt>
                <c:pt idx="5">
                  <c:v>0.0759135838396914</c:v>
                </c:pt>
                <c:pt idx="6">
                  <c:v>0.02955530894863287</c:v>
                </c:pt>
                <c:pt idx="7">
                  <c:v>0.0336833417214364</c:v>
                </c:pt>
                <c:pt idx="8">
                  <c:v>0.01503959843206541</c:v>
                </c:pt>
                <c:pt idx="10">
                  <c:v>0.00245591253089090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082113207984845</c:v>
                </c:pt>
                <c:pt idx="4">
                  <c:v>0.006953468216752998</c:v>
                </c:pt>
                <c:pt idx="5">
                  <c:v>0.00790147384777279</c:v>
                </c:pt>
                <c:pt idx="6">
                  <c:v>0.012497409985339615</c:v>
                </c:pt>
                <c:pt idx="7">
                  <c:v>0.05111817987791542</c:v>
                </c:pt>
                <c:pt idx="8">
                  <c:v>0.02904787925571911</c:v>
                </c:pt>
                <c:pt idx="9">
                  <c:v>0.01236547397583552</c:v>
                </c:pt>
                <c:pt idx="10">
                  <c:v>0.0150304149411733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159594411640827</c:v>
                </c:pt>
                <c:pt idx="1">
                  <c:v>0.01633880018287857</c:v>
                </c:pt>
                <c:pt idx="2">
                  <c:v>0.01325766968552507</c:v>
                </c:pt>
                <c:pt idx="3">
                  <c:v>0.04145636020621783</c:v>
                </c:pt>
                <c:pt idx="4">
                  <c:v>0.060551227539846375</c:v>
                </c:pt>
                <c:pt idx="5">
                  <c:v>0.059016210913015926</c:v>
                </c:pt>
                <c:pt idx="6">
                  <c:v>0.14735799657760537</c:v>
                </c:pt>
                <c:pt idx="7">
                  <c:v>0.21977549177794342</c:v>
                </c:pt>
                <c:pt idx="8">
                  <c:v>0.1248896334835033</c:v>
                </c:pt>
                <c:pt idx="9">
                  <c:v>0.08699713680124073</c:v>
                </c:pt>
                <c:pt idx="10">
                  <c:v>0.07176892577546427</c:v>
                </c:pt>
                <c:pt idx="12">
                  <c:v>0.000537168495325039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8764979352415567</c:v>
                </c:pt>
                <c:pt idx="7">
                  <c:v>0.016663274794419557</c:v>
                </c:pt>
                <c:pt idx="8">
                  <c:v>0.006492882477147027</c:v>
                </c:pt>
                <c:pt idx="10">
                  <c:v>0.00259284991843335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4601392266782487</c:v>
                </c:pt>
                <c:pt idx="3">
                  <c:v>0.009584722439666266</c:v>
                </c:pt>
                <c:pt idx="5">
                  <c:v>0.011537446256914692</c:v>
                </c:pt>
                <c:pt idx="7">
                  <c:v>0.01737671701244667</c:v>
                </c:pt>
                <c:pt idx="8">
                  <c:v>0.0006192864506326367</c:v>
                </c:pt>
                <c:pt idx="10">
                  <c:v>0.009838756173812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4601392266782487</c:v>
                </c:pt>
                <c:pt idx="3">
                  <c:v>0.004040866341890117</c:v>
                </c:pt>
                <c:pt idx="5">
                  <c:v>0.001530209624262619</c:v>
                </c:pt>
                <c:pt idx="8">
                  <c:v>0.0050984703814530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441572826712374</c:v>
                </c:pt>
                <c:pt idx="4">
                  <c:v>0.005148853867320392</c:v>
                </c:pt>
                <c:pt idx="5">
                  <c:v>0.02107546945489458</c:v>
                </c:pt>
                <c:pt idx="7">
                  <c:v>0.03959716248165783</c:v>
                </c:pt>
                <c:pt idx="9">
                  <c:v>0.003545042027595264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12733770218926084</c:v>
                </c:pt>
                <c:pt idx="6">
                  <c:v>0.020130892074696136</c:v>
                </c:pt>
                <c:pt idx="7">
                  <c:v>0.05770091562010273</c:v>
                </c:pt>
                <c:pt idx="8">
                  <c:v>0.0021007769745816224</c:v>
                </c:pt>
                <c:pt idx="9">
                  <c:v>0.060717997465311646</c:v>
                </c:pt>
                <c:pt idx="10">
                  <c:v>0.00096959552000316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3438112007002766</c:v>
                </c:pt>
                <c:pt idx="1">
                  <c:v>0.00771663703679189</c:v>
                </c:pt>
                <c:pt idx="4">
                  <c:v>0.025887282491985287</c:v>
                </c:pt>
                <c:pt idx="5">
                  <c:v>0.0011021428867557719</c:v>
                </c:pt>
                <c:pt idx="6">
                  <c:v>0.05307433161038658</c:v>
                </c:pt>
                <c:pt idx="8">
                  <c:v>0.021562012890803894</c:v>
                </c:pt>
                <c:pt idx="10">
                  <c:v>0.001580959605624394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060169204907452</c:v>
                </c:pt>
                <c:pt idx="5">
                  <c:v>0.014315024674309163</c:v>
                </c:pt>
                <c:pt idx="7">
                  <c:v>0.0008005887405667538</c:v>
                </c:pt>
                <c:pt idx="8">
                  <c:v>0.03847492296602269</c:v>
                </c:pt>
                <c:pt idx="10">
                  <c:v>0.007282273741354237</c:v>
                </c:pt>
                <c:pt idx="11">
                  <c:v>0.00201507489659212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99108067079753</c:v>
                </c:pt>
                <c:pt idx="8">
                  <c:v>0.012828444547516327</c:v>
                </c:pt>
                <c:pt idx="9">
                  <c:v>0.0012632328123912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7966005531298805</c:v>
                </c:pt>
                <c:pt idx="4">
                  <c:v>0.001020477770415566</c:v>
                </c:pt>
                <c:pt idx="5">
                  <c:v>0.030675143808491942</c:v>
                </c:pt>
                <c:pt idx="7">
                  <c:v>0.03567287201865732</c:v>
                </c:pt>
                <c:pt idx="10">
                  <c:v>0.0012866196339048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4675713255636784</c:v>
                </c:pt>
                <c:pt idx="2">
                  <c:v>0.0073222119817831595</c:v>
                </c:pt>
                <c:pt idx="3">
                  <c:v>0.010838666925899285</c:v>
                </c:pt>
                <c:pt idx="4">
                  <c:v>0.007854968758677645</c:v>
                </c:pt>
                <c:pt idx="5">
                  <c:v>0.014626503348729992</c:v>
                </c:pt>
                <c:pt idx="7">
                  <c:v>0.023729879837111553</c:v>
                </c:pt>
                <c:pt idx="8">
                  <c:v>0.005907428174176061</c:v>
                </c:pt>
                <c:pt idx="9">
                  <c:v>0.0011797318710988986</c:v>
                </c:pt>
                <c:pt idx="10">
                  <c:v>0.0148706888753331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4039585917083433</c:v>
                </c:pt>
                <c:pt idx="4">
                  <c:v>0.0047919910034235095</c:v>
                </c:pt>
                <c:pt idx="5">
                  <c:v>0.008621071954402612</c:v>
                </c:pt>
                <c:pt idx="6">
                  <c:v>0.026787534270509988</c:v>
                </c:pt>
                <c:pt idx="7">
                  <c:v>0.010469601483297113</c:v>
                </c:pt>
                <c:pt idx="8">
                  <c:v>0.05232341037941712</c:v>
                </c:pt>
                <c:pt idx="9">
                  <c:v>0.0006243995799953024</c:v>
                </c:pt>
                <c:pt idx="10">
                  <c:v>0.00597765219808441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134176755931314</c:v>
                </c:pt>
                <c:pt idx="7">
                  <c:v>0.006840362599300361</c:v>
                </c:pt>
                <c:pt idx="10">
                  <c:v>0.001622798444811058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823963536409176</c:v>
                </c:pt>
                <c:pt idx="1">
                  <c:v>0.002073949159311291</c:v>
                </c:pt>
                <c:pt idx="2">
                  <c:v>0.0006108243615143752</c:v>
                </c:pt>
                <c:pt idx="3">
                  <c:v>0.01637251845592989</c:v>
                </c:pt>
                <c:pt idx="4">
                  <c:v>0.011704642063775483</c:v>
                </c:pt>
                <c:pt idx="5">
                  <c:v>0.024932755511573326</c:v>
                </c:pt>
                <c:pt idx="6">
                  <c:v>0.012203051158121115</c:v>
                </c:pt>
                <c:pt idx="7">
                  <c:v>0.05362325998143248</c:v>
                </c:pt>
                <c:pt idx="8">
                  <c:v>0.05856962991953705</c:v>
                </c:pt>
                <c:pt idx="9">
                  <c:v>0.06047309168250206</c:v>
                </c:pt>
                <c:pt idx="10">
                  <c:v>0.0513934389905327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2883296298685601</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2378820717623514</c:v>
                </c:pt>
                <c:pt idx="1">
                  <c:v>0.008704650123208047</c:v>
                </c:pt>
                <c:pt idx="2">
                  <c:v>0.00407201546118422</c:v>
                </c:pt>
                <c:pt idx="3">
                  <c:v>0.014268643085746643</c:v>
                </c:pt>
                <c:pt idx="4">
                  <c:v>0.026641009300003234</c:v>
                </c:pt>
                <c:pt idx="5">
                  <c:v>0.02725680326563916</c:v>
                </c:pt>
                <c:pt idx="6">
                  <c:v>0.06683635993202157</c:v>
                </c:pt>
                <c:pt idx="7">
                  <c:v>0.01299210634336415</c:v>
                </c:pt>
                <c:pt idx="8">
                  <c:v>0.026924993273429825</c:v>
                </c:pt>
                <c:pt idx="9">
                  <c:v>0.0015848784732338393</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4235611714116374</c:v>
                </c:pt>
                <c:pt idx="1">
                  <c:v>0.014090737698527062</c:v>
                </c:pt>
                <c:pt idx="4">
                  <c:v>0.060420229520696776</c:v>
                </c:pt>
                <c:pt idx="5">
                  <c:v>0.1208322721382809</c:v>
                </c:pt>
                <c:pt idx="6">
                  <c:v>0.0011778944742909404</c:v>
                </c:pt>
                <c:pt idx="7">
                  <c:v>0.004098571470830603</c:v>
                </c:pt>
                <c:pt idx="8">
                  <c:v>0.18754017551855012</c:v>
                </c:pt>
                <c:pt idx="9">
                  <c:v>0.0012383056075588015</c:v>
                </c:pt>
                <c:pt idx="10">
                  <c:v>0.08422826182608971</c:v>
                </c:pt>
                <c:pt idx="11">
                  <c:v>0.00203828260376641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427846444226306</c:v>
                </c:pt>
                <c:pt idx="4">
                  <c:v>0.002960075804571381</c:v>
                </c:pt>
                <c:pt idx="5">
                  <c:v>0.013282489096610206</c:v>
                </c:pt>
                <c:pt idx="6">
                  <c:v>0.010587702242869208</c:v>
                </c:pt>
                <c:pt idx="7">
                  <c:v>0.04749481674288953</c:v>
                </c:pt>
                <c:pt idx="8">
                  <c:v>0.02896227997972612</c:v>
                </c:pt>
                <c:pt idx="9">
                  <c:v>0.011557819944363387</c:v>
                </c:pt>
                <c:pt idx="10">
                  <c:v>0.00899683527637886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8923544181602873</c:v>
                </c:pt>
                <c:pt idx="7">
                  <c:v>0.007868116784968614</c:v>
                </c:pt>
                <c:pt idx="8">
                  <c:v>0.01567913156366292</c:v>
                </c:pt>
                <c:pt idx="9">
                  <c:v>0.00161265831969322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879874512001602</c:v>
                </c:pt>
                <c:pt idx="6">
                  <c:v>0.0072385518857084165</c:v>
                </c:pt>
                <c:pt idx="8">
                  <c:v>0.00842072466925953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31935728484265434</c:v>
                </c:pt>
                <c:pt idx="6">
                  <c:v>0.002182571604367232</c:v>
                </c:pt>
                <c:pt idx="7">
                  <c:v>0.004900466368272281</c:v>
                </c:pt>
                <c:pt idx="10">
                  <c:v>0.00280430503243643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5619622998525503</c:v>
                </c:pt>
                <c:pt idx="2">
                  <c:v>0.009611683486752821</c:v>
                </c:pt>
                <c:pt idx="3">
                  <c:v>0.007322802398564826</c:v>
                </c:pt>
                <c:pt idx="4">
                  <c:v>0.017094221149595825</c:v>
                </c:pt>
                <c:pt idx="5">
                  <c:v>0.011234128806656703</c:v>
                </c:pt>
                <c:pt idx="6">
                  <c:v>0.0009310584229327063</c:v>
                </c:pt>
                <c:pt idx="7">
                  <c:v>0.004423487250213444</c:v>
                </c:pt>
                <c:pt idx="8">
                  <c:v>0.023505936322609233</c:v>
                </c:pt>
                <c:pt idx="9">
                  <c:v>0.002639496561801381</c:v>
                </c:pt>
                <c:pt idx="10">
                  <c:v>0.021256714532313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600544542834714</c:v>
                </c:pt>
                <c:pt idx="4">
                  <c:v>0.0061777956607306376</c:v>
                </c:pt>
                <c:pt idx="5">
                  <c:v>0.007005360730910823</c:v>
                </c:pt>
                <c:pt idx="6">
                  <c:v>0.024315095806886688</c:v>
                </c:pt>
                <c:pt idx="7">
                  <c:v>0.06670765108667634</c:v>
                </c:pt>
                <c:pt idx="8">
                  <c:v>0.00977260261066958</c:v>
                </c:pt>
                <c:pt idx="10">
                  <c:v>0.007234000057631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3569573067529505</c:v>
                </c:pt>
                <c:pt idx="7">
                  <c:v>0.008724749571436376</c:v>
                </c:pt>
                <c:pt idx="10">
                  <c:v>0.001940320211556060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8555444775079665</c:v>
                </c:pt>
                <c:pt idx="2">
                  <c:v>0.0005610722604503559</c:v>
                </c:pt>
                <c:pt idx="3">
                  <c:v>0.018818855860911178</c:v>
                </c:pt>
                <c:pt idx="4">
                  <c:v>0.010815836023704404</c:v>
                </c:pt>
                <c:pt idx="5">
                  <c:v>0.011583847806848119</c:v>
                </c:pt>
                <c:pt idx="6">
                  <c:v>0.0328599587641099</c:v>
                </c:pt>
                <c:pt idx="7">
                  <c:v>0.09123367979786334</c:v>
                </c:pt>
                <c:pt idx="8">
                  <c:v>0.05665312259751021</c:v>
                </c:pt>
                <c:pt idx="9">
                  <c:v>0.05429873031997418</c:v>
                </c:pt>
                <c:pt idx="10">
                  <c:v>0.0645246310705180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1998081492532784</c:v>
                </c:pt>
                <c:pt idx="6">
                  <c:v>0.0016924017919866092</c:v>
                </c:pt>
                <c:pt idx="7">
                  <c:v>0.0007055644501133979</c:v>
                </c:pt>
                <c:pt idx="10">
                  <c:v>0.0130765371968057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508031488230037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1698957053115312</c:v>
                </c:pt>
                <c:pt idx="1">
                  <c:v>0.0068807037424454</c:v>
                </c:pt>
                <c:pt idx="2">
                  <c:v>0.00273216789329252</c:v>
                </c:pt>
                <c:pt idx="3">
                  <c:v>0.02666249216025414</c:v>
                </c:pt>
                <c:pt idx="4">
                  <c:v>0.01340282240544957</c:v>
                </c:pt>
                <c:pt idx="5">
                  <c:v>0.0759135838396914</c:v>
                </c:pt>
                <c:pt idx="6">
                  <c:v>0.02955530894863287</c:v>
                </c:pt>
                <c:pt idx="7">
                  <c:v>0.0336833417214364</c:v>
                </c:pt>
                <c:pt idx="8">
                  <c:v>0.01503959843206541</c:v>
                </c:pt>
                <c:pt idx="10">
                  <c:v>0.002455912530890908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6082113207984845</c:v>
                </c:pt>
                <c:pt idx="4">
                  <c:v>0.006953468216752998</c:v>
                </c:pt>
                <c:pt idx="5">
                  <c:v>0.00790147384777279</c:v>
                </c:pt>
                <c:pt idx="6">
                  <c:v>0.012497409985339615</c:v>
                </c:pt>
                <c:pt idx="7">
                  <c:v>0.05111817987791542</c:v>
                </c:pt>
                <c:pt idx="8">
                  <c:v>0.02904787925571911</c:v>
                </c:pt>
                <c:pt idx="9">
                  <c:v>0.01236547397583552</c:v>
                </c:pt>
                <c:pt idx="10">
                  <c:v>0.0150304149411733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08764979352415567</c:v>
                </c:pt>
                <c:pt idx="7">
                  <c:v>0.016663274794419557</c:v>
                </c:pt>
                <c:pt idx="8">
                  <c:v>0.006492882477147027</c:v>
                </c:pt>
                <c:pt idx="10">
                  <c:v>0.002592849918433357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4601392266782487</c:v>
                </c:pt>
                <c:pt idx="3">
                  <c:v>0.009584722439666266</c:v>
                </c:pt>
                <c:pt idx="5">
                  <c:v>0.011537446256914692</c:v>
                </c:pt>
                <c:pt idx="7">
                  <c:v>0.01737671701244667</c:v>
                </c:pt>
                <c:pt idx="8">
                  <c:v>0.0006192864506326367</c:v>
                </c:pt>
                <c:pt idx="10">
                  <c:v>0.009838756173812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441572826712374</c:v>
                </c:pt>
                <c:pt idx="4">
                  <c:v>0.005148853867320392</c:v>
                </c:pt>
                <c:pt idx="5">
                  <c:v>0.02107546945489458</c:v>
                </c:pt>
                <c:pt idx="7">
                  <c:v>0.03959716248165783</c:v>
                </c:pt>
                <c:pt idx="9">
                  <c:v>0.003545042027595264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1012941603475931</c:v>
                </c:pt>
                <c:pt idx="5">
                  <c:v>0.009755713254862056</c:v>
                </c:pt>
                <c:pt idx="7">
                  <c:v>0.0107361961710948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4171011647571264</c:v>
                </c:pt>
                <c:pt idx="7">
                  <c:v>0.005571420416805406</c:v>
                </c:pt>
                <c:pt idx="10">
                  <c:v>0.001570174166787993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12733770218926084</c:v>
                </c:pt>
                <c:pt idx="6">
                  <c:v>0.020130892074696136</c:v>
                </c:pt>
                <c:pt idx="7">
                  <c:v>0.05770091562010273</c:v>
                </c:pt>
                <c:pt idx="8">
                  <c:v>0.0021007769745816224</c:v>
                </c:pt>
                <c:pt idx="9">
                  <c:v>0.060717997465311646</c:v>
                </c:pt>
                <c:pt idx="10">
                  <c:v>0.000969595520003165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20009221081752236</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3438112007002766</c:v>
                </c:pt>
                <c:pt idx="1">
                  <c:v>0.00771663703679189</c:v>
                </c:pt>
                <c:pt idx="4">
                  <c:v>0.025887282491985287</c:v>
                </c:pt>
                <c:pt idx="5">
                  <c:v>0.0011021428867557719</c:v>
                </c:pt>
                <c:pt idx="6">
                  <c:v>0.05307433161038658</c:v>
                </c:pt>
                <c:pt idx="8">
                  <c:v>0.021562012890803894</c:v>
                </c:pt>
                <c:pt idx="10">
                  <c:v>0.001580959605624394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3">
                  <c:v>0.007060169204907452</c:v>
                </c:pt>
                <c:pt idx="5">
                  <c:v>0.014315024674309163</c:v>
                </c:pt>
                <c:pt idx="7">
                  <c:v>0.0008005887405667538</c:v>
                </c:pt>
                <c:pt idx="8">
                  <c:v>0.03847492296602269</c:v>
                </c:pt>
                <c:pt idx="10">
                  <c:v>0.007282273741354237</c:v>
                </c:pt>
                <c:pt idx="11">
                  <c:v>0.00201507489659212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0699108067079753</c:v>
                </c:pt>
                <c:pt idx="8">
                  <c:v>0.012828444547516327</c:v>
                </c:pt>
                <c:pt idx="9">
                  <c:v>0.0012632328123912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7966005531298805</c:v>
                </c:pt>
                <c:pt idx="4">
                  <c:v>0.001020477770415566</c:v>
                </c:pt>
                <c:pt idx="5">
                  <c:v>0.030675143808491942</c:v>
                </c:pt>
                <c:pt idx="7">
                  <c:v>0.03567287201865732</c:v>
                </c:pt>
                <c:pt idx="10">
                  <c:v>0.00128661963390489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4549154025681851</c:v>
                </c:pt>
                <c:pt idx="6">
                  <c:v>0.0023582829491734956</c:v>
                </c:pt>
                <c:pt idx="7">
                  <c:v>0.008126447119639266</c:v>
                </c:pt>
                <c:pt idx="9">
                  <c:v>0.00401319298225445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159594411640827</c:v>
                </c:pt>
                <c:pt idx="1">
                  <c:v>0.01633880018287857</c:v>
                </c:pt>
                <c:pt idx="2">
                  <c:v>0.01325766968552507</c:v>
                </c:pt>
                <c:pt idx="3">
                  <c:v>0.04145636020621783</c:v>
                </c:pt>
                <c:pt idx="4">
                  <c:v>0.060551227539846375</c:v>
                </c:pt>
                <c:pt idx="5">
                  <c:v>0.059016210913015926</c:v>
                </c:pt>
                <c:pt idx="6">
                  <c:v>0.14735799657760537</c:v>
                </c:pt>
                <c:pt idx="7">
                  <c:v>0.21977549177794342</c:v>
                </c:pt>
                <c:pt idx="8">
                  <c:v>0.1248896334835033</c:v>
                </c:pt>
                <c:pt idx="9">
                  <c:v>0.08699713680124073</c:v>
                </c:pt>
                <c:pt idx="10">
                  <c:v>0.07176892577546427</c:v>
                </c:pt>
                <c:pt idx="12">
                  <c:v>0.000537168495325039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73222119817831595</c:v>
                </c:pt>
                <c:pt idx="3">
                  <c:v>0.005167922731453338</c:v>
                </c:pt>
                <c:pt idx="5">
                  <c:v>0.003808420974352366</c:v>
                </c:pt>
                <c:pt idx="8">
                  <c:v>0.005849954894324177</c:v>
                </c:pt>
                <c:pt idx="9">
                  <c:v>0.0011084746532942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4788212173148355</c:v>
                </c:pt>
                <c:pt idx="6">
                  <c:v>0.002493317295051694</c:v>
                </c:pt>
                <c:pt idx="7">
                  <c:v>0.0007813286634876524</c:v>
                </c:pt>
                <c:pt idx="9">
                  <c:v>0.015455115750503545</c:v>
                </c:pt>
                <c:pt idx="10">
                  <c:v>0.00188458012825538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2302395547177488</c:v>
                </c:pt>
                <c:pt idx="7">
                  <c:v>0.00253469641799966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4788212173148355</c:v>
                </c:pt>
                <c:pt idx="6">
                  <c:v>0.002493317295051694</c:v>
                </c:pt>
                <c:pt idx="7">
                  <c:v>0.0007813286634876524</c:v>
                </c:pt>
                <c:pt idx="9">
                  <c:v>0.015455115750503545</c:v>
                </c:pt>
                <c:pt idx="10">
                  <c:v>0.00188458012825538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5769667513792587</c:v>
                </c:pt>
                <c:pt idx="6">
                  <c:v>0.05697704975709731</c:v>
                </c:pt>
                <c:pt idx="7">
                  <c:v>0.24833150640056717</c:v>
                </c:pt>
                <c:pt idx="8">
                  <c:v>0.15601012982367793</c:v>
                </c:pt>
                <c:pt idx="9">
                  <c:v>0.10020368133507936</c:v>
                </c:pt>
                <c:pt idx="10">
                  <c:v>0.082672933390489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9611683486752821</c:v>
                </c:pt>
                <c:pt idx="3">
                  <c:v>0.008070268211894027</c:v>
                </c:pt>
                <c:pt idx="5">
                  <c:v>0.0008946847644719398</c:v>
                </c:pt>
                <c:pt idx="8">
                  <c:v>0.008742820588310812</c:v>
                </c:pt>
                <c:pt idx="9">
                  <c:v>0.00156398152688262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8245597567007162</c:v>
                </c:pt>
                <c:pt idx="6">
                  <c:v>0.002976536253689728</c:v>
                </c:pt>
                <c:pt idx="7">
                  <c:v>0.0007242218445557465</c:v>
                </c:pt>
                <c:pt idx="9">
                  <c:v>0.01933507442483745</c:v>
                </c:pt>
                <c:pt idx="10">
                  <c:v>0.0023922114457728847</c:v>
                </c:pt>
                <c:pt idx="11">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4235611714116374</c:v>
                </c:pt>
                <c:pt idx="1">
                  <c:v>0.014090737698527062</c:v>
                </c:pt>
                <c:pt idx="4">
                  <c:v>0.060420229520696776</c:v>
                </c:pt>
                <c:pt idx="5">
                  <c:v>0.1208322721382809</c:v>
                </c:pt>
                <c:pt idx="6">
                  <c:v>0.0011778944742909404</c:v>
                </c:pt>
                <c:pt idx="7">
                  <c:v>0.004098571470830603</c:v>
                </c:pt>
                <c:pt idx="8">
                  <c:v>0.18754017551855012</c:v>
                </c:pt>
                <c:pt idx="9">
                  <c:v>0.0012383056075588015</c:v>
                </c:pt>
                <c:pt idx="10">
                  <c:v>0.08422826182608971</c:v>
                </c:pt>
                <c:pt idx="11">
                  <c:v>0.00203828260376641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4601392266782487</c:v>
                </c:pt>
                <c:pt idx="3">
                  <c:v>0.004040866341890117</c:v>
                </c:pt>
                <c:pt idx="5">
                  <c:v>0.001530209624262619</c:v>
                </c:pt>
                <c:pt idx="8">
                  <c:v>0.0050984703814530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1998081492532784</c:v>
                </c:pt>
                <c:pt idx="6">
                  <c:v>0.0016924017919866092</c:v>
                </c:pt>
                <c:pt idx="7">
                  <c:v>0.0007055644501133979</c:v>
                </c:pt>
                <c:pt idx="10">
                  <c:v>0.0130765371968057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2302395547177488</c:v>
                </c:pt>
                <c:pt idx="7">
                  <c:v>0.00253469641799966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1012941603475931</c:v>
                </c:pt>
                <c:pt idx="5">
                  <c:v>0.009755713254862056</c:v>
                </c:pt>
                <c:pt idx="7">
                  <c:v>0.0107361961710948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8</c:v>
                </c:pt>
                <c:pt idx="2">
                  <c:v>0.013260072235208326</c:v>
                </c:pt>
                <c:pt idx="3">
                  <c:v>0.07556227083183127</c:v>
                </c:pt>
                <c:pt idx="4">
                  <c:v>0.04153792010324604</c:v>
                </c:pt>
                <c:pt idx="5">
                  <c:v>0.1831223576647234</c:v>
                </c:pt>
                <c:pt idx="6">
                  <c:v>0.06154028409509541</c:v>
                </c:pt>
                <c:pt idx="7">
                  <c:v>0.12529305571168425</c:v>
                </c:pt>
                <c:pt idx="8">
                  <c:v>0.2679416452737607</c:v>
                </c:pt>
                <c:pt idx="9">
                  <c:v>0.11952001296739617</c:v>
                </c:pt>
                <c:pt idx="10">
                  <c:v>0.07383488507536884</c:v>
                </c:pt>
                <c:pt idx="11">
                  <c:v>0.00097924674007412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159594411640827</c:v>
                </c:pt>
                <c:pt idx="1">
                  <c:v>0.01633880018287857</c:v>
                </c:pt>
                <c:pt idx="2">
                  <c:v>0.01325766968552507</c:v>
                </c:pt>
                <c:pt idx="3">
                  <c:v>0.04145636020621783</c:v>
                </c:pt>
                <c:pt idx="4">
                  <c:v>0.060551227539846375</c:v>
                </c:pt>
                <c:pt idx="5">
                  <c:v>0.059016210913015926</c:v>
                </c:pt>
                <c:pt idx="6">
                  <c:v>0.14735799657760537</c:v>
                </c:pt>
                <c:pt idx="7">
                  <c:v>0.21977549177794342</c:v>
                </c:pt>
                <c:pt idx="8">
                  <c:v>0.1248896334835033</c:v>
                </c:pt>
                <c:pt idx="9">
                  <c:v>0.08699713680124073</c:v>
                </c:pt>
                <c:pt idx="10">
                  <c:v>0.07176892577546427</c:v>
                </c:pt>
                <c:pt idx="12">
                  <c:v>0.000537168495325039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134176755931314</c:v>
                </c:pt>
                <c:pt idx="7">
                  <c:v>0.006840362599300361</c:v>
                </c:pt>
                <c:pt idx="10">
                  <c:v>0.0045060947434966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4788212173148355</c:v>
                </c:pt>
                <c:pt idx="6">
                  <c:v>0.002493317295051694</c:v>
                </c:pt>
                <c:pt idx="7">
                  <c:v>0.0007813286634876524</c:v>
                </c:pt>
                <c:pt idx="9">
                  <c:v>0.015455115750503545</c:v>
                </c:pt>
                <c:pt idx="10">
                  <c:v>0.00188458012825538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303795027491361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2302395547177488</c:v>
                </c:pt>
                <c:pt idx="7">
                  <c:v>0.0025346964179996643</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7594240996402155</c:v>
                </c:pt>
                <c:pt idx="6">
                  <c:v>0.059953586010787034</c:v>
                </c:pt>
                <c:pt idx="7">
                  <c:v>0.1562994505355691</c:v>
                </c:pt>
                <c:pt idx="8">
                  <c:v>0.25184260675323467</c:v>
                </c:pt>
                <c:pt idx="9">
                  <c:v>0.1201097364108205</c:v>
                </c:pt>
                <c:pt idx="10">
                  <c:v>0.08545390975779407</c:v>
                </c:pt>
                <c:pt idx="12">
                  <c:v>0.000586396562284361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5</c:v>
                </c:pt>
                <c:pt idx="1">
                  <c:v>0.01905774672580669</c:v>
                </c:pt>
                <c:pt idx="2">
                  <c:v>0.013061519103123722</c:v>
                </c:pt>
                <c:pt idx="3">
                  <c:v>0.06785481107646187</c:v>
                </c:pt>
                <c:pt idx="4">
                  <c:v>0.04562659387291042</c:v>
                </c:pt>
                <c:pt idx="5">
                  <c:v>0.15769667513792587</c:v>
                </c:pt>
                <c:pt idx="6">
                  <c:v>0.05697704975709731</c:v>
                </c:pt>
                <c:pt idx="7">
                  <c:v>0.24833150640056717</c:v>
                </c:pt>
                <c:pt idx="8">
                  <c:v>0.15601012982367793</c:v>
                </c:pt>
                <c:pt idx="9">
                  <c:v>0.10020368133507936</c:v>
                </c:pt>
                <c:pt idx="10">
                  <c:v>0.0826729333904891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3569573067529505</c:v>
                </c:pt>
                <c:pt idx="7">
                  <c:v>0.008724749571436376</c:v>
                </c:pt>
                <c:pt idx="10">
                  <c:v>0.00702063509385643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8245597567007162</c:v>
                </c:pt>
                <c:pt idx="6">
                  <c:v>0.002976536253689728</c:v>
                </c:pt>
                <c:pt idx="7">
                  <c:v>0.0007242218445557465</c:v>
                </c:pt>
                <c:pt idx="9">
                  <c:v>0.01933507442483745</c:v>
                </c:pt>
                <c:pt idx="10">
                  <c:v>0.0023922114457728847</c:v>
                </c:pt>
                <c:pt idx="11">
                  <c:v>0.000522390933563658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419623767176398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1">
                  <c:v>0.07210901912757897</c:v>
                </c:pt>
                <c:pt idx="3">
                  <c:v>0.1240222020766048</c:v>
                </c:pt>
                <c:pt idx="4">
                  <c:v>0.0005030329775539284</c:v>
                </c:pt>
                <c:pt idx="5">
                  <c:v>0.22171959768659777</c:v>
                </c:pt>
                <c:pt idx="6">
                  <c:v>0.0029994597498183262</c:v>
                </c:pt>
                <c:pt idx="7">
                  <c:v>0.005504021068696178</c:v>
                </c:pt>
                <c:pt idx="8">
                  <c:v>0.3835853667277231</c:v>
                </c:pt>
                <c:pt idx="9">
                  <c:v>0.1676279076509062</c:v>
                </c:pt>
                <c:pt idx="10">
                  <c:v>0.001605412846358737</c:v>
                </c:pt>
                <c:pt idx="11">
                  <c:v>0.00382920830483750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4235611714116374</c:v>
                </c:pt>
                <c:pt idx="1">
                  <c:v>0.014090737698527062</c:v>
                </c:pt>
                <c:pt idx="4">
                  <c:v>0.060420229520696776</c:v>
                </c:pt>
                <c:pt idx="5">
                  <c:v>0.1208322721382809</c:v>
                </c:pt>
                <c:pt idx="6">
                  <c:v>0.0011778944742909404</c:v>
                </c:pt>
                <c:pt idx="7">
                  <c:v>0.004098571470830603</c:v>
                </c:pt>
                <c:pt idx="8">
                  <c:v>0.18754017551855012</c:v>
                </c:pt>
                <c:pt idx="9">
                  <c:v>0.0012383056075588015</c:v>
                </c:pt>
                <c:pt idx="10">
                  <c:v>0.08422826182608971</c:v>
                </c:pt>
                <c:pt idx="11">
                  <c:v>0.00203828260376641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4171011647571264</c:v>
                </c:pt>
                <c:pt idx="7">
                  <c:v>0.005571420416805406</c:v>
                </c:pt>
                <c:pt idx="10">
                  <c:v>0.00357109627496321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11998081492532784</c:v>
                </c:pt>
                <c:pt idx="6">
                  <c:v>0.0016924017919866092</c:v>
                </c:pt>
                <c:pt idx="7">
                  <c:v>0.0007055644501133979</c:v>
                </c:pt>
                <c:pt idx="10">
                  <c:v>0.0130765371968057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3113216644566483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1012941603475931</c:v>
                </c:pt>
                <c:pt idx="5">
                  <c:v>0.009755713254862056</c:v>
                </c:pt>
                <c:pt idx="7">
                  <c:v>0.01073619617109481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223915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6390285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96767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5470256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633459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544855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1059012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2910060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53639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953647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239797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5660797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4736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256864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5361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40965363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8321051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2337248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196994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410561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927622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082321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641664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940507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1566957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18664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1"/>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7771">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46000343"/>
                  </a:ext>
                </a:extLst>
              </a:tr>
              <a:tr h="227771">
                <a:tc>
                  <a:txBody>
                    <a:bodyPr/>
                    <a:lstStyle/>
                    <a:p>
                      <a:pPr algn="ctr">
                        <a:defRPr sz="700">
                          <a:latin typeface="Nexa Bold"/>
                        </a:defRPr>
                      </a:pPr>
                      <a:r>
                        <a:t>450-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20106337"/>
                  </a:ext>
                </a:extLst>
              </a:tr>
              <a:tr h="227771">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27771">
                <a:tc>
                  <a:txBody>
                    <a:bodyPr/>
                    <a:lstStyle/>
                    <a:p>
                      <a:pPr algn="ctr">
                        <a:defRPr sz="700">
                          <a:latin typeface="Nexa Bold"/>
                        </a:defRPr>
                      </a:pPr>
                      <a:r>
                        <a:t>350-4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27771">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27771">
                <a:tc>
                  <a:txBody>
                    <a:bodyPr/>
                    <a:lstStyle/>
                    <a:p>
                      <a:pPr algn="ctr">
                        <a:defRPr sz="700">
                          <a:latin typeface="Nexa Bold"/>
                        </a:defRPr>
                      </a:pPr>
                      <a:r>
                        <a:t>250-3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7771">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27771">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27771">
                <a:tc>
                  <a:txBody>
                    <a:bodyPr/>
                    <a:lstStyle/>
                    <a:p>
                      <a:pPr algn="ctr">
                        <a:defRPr sz="700">
                          <a:latin typeface="Nexa Bold"/>
                        </a:defRPr>
                      </a:pPr>
                      <a:r>
                        <a:t>150-2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27771">
                <a:tc>
                  <a:txBody>
                    <a:bodyPr/>
                    <a:lstStyle/>
                    <a:p>
                      <a:pPr algn="ctr">
                        <a:defRPr sz="700">
                          <a:latin typeface="Nexa Bold"/>
                        </a:defRPr>
                      </a:pPr>
                      <a:r>
                        <a:t>50-1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27771">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27771">
                <a:tc>
                  <a:txBody>
                    <a:bodyPr/>
                    <a:lstStyle/>
                    <a:p>
                      <a:pPr algn="ctr">
                        <a:defRPr sz="700">
                          <a:latin typeface="Nexa Bold"/>
                        </a:defRPr>
                      </a:pPr>
                      <a:r>
                        <a:t>0-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27771">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0/2025</a:t>
            </a:fld>
            <a:endParaRPr lang="en-US" sz="500"/>
          </a:p>
        </p:txBody>
      </p:sp>
    </p:spTree>
    <p:extLst>
      <p:ext uri="{BB962C8B-B14F-4D97-AF65-F5344CB8AC3E}">
        <p14:creationId xmlns:p14="http://schemas.microsoft.com/office/powerpoint/2010/main" val="3492073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